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8" r:id="rId1"/>
    <p:sldMasterId id="2147483820" r:id="rId2"/>
    <p:sldMasterId id="2147483832" r:id="rId3"/>
    <p:sldMasterId id="2147483870" r:id="rId4"/>
    <p:sldMasterId id="2147483883" r:id="rId5"/>
    <p:sldMasterId id="2147483896" r:id="rId6"/>
  </p:sldMasterIdLst>
  <p:notesMasterIdLst>
    <p:notesMasterId r:id="rId12"/>
  </p:notesMasterIdLst>
  <p:handoutMasterIdLst>
    <p:handoutMasterId r:id="rId13"/>
  </p:handoutMasterIdLst>
  <p:sldIdLst>
    <p:sldId id="370" r:id="rId7"/>
    <p:sldId id="396" r:id="rId8"/>
    <p:sldId id="401" r:id="rId9"/>
    <p:sldId id="403" r:id="rId10"/>
    <p:sldId id="402" r:id="rId11"/>
  </p:sldIdLst>
  <p:sldSz cx="12192000" cy="6858000"/>
  <p:notesSz cx="6797675" cy="9872663"/>
  <p:custDataLst>
    <p:tags r:id="rId14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0A35F5-6F7D-E43E-8F52-CDF55CA47EC2}" name="Une Tangen" initials="UT" userId="S::une.tangen@ks.no::ec6dd4d0-9964-4f1e-b96c-324c3d55b21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1A58"/>
    <a:srgbClr val="BCCFE8"/>
    <a:srgbClr val="008CD3"/>
    <a:srgbClr val="0010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EEAFC5-F6C0-4FB7-A7B7-027073A1BA36}" v="60" dt="2023-12-12T14:26:17.7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6395" autoAdjust="0"/>
  </p:normalViewPr>
  <p:slideViewPr>
    <p:cSldViewPr snapToGrid="0" snapToObjects="1">
      <p:cViewPr varScale="1">
        <p:scale>
          <a:sx n="107" d="100"/>
          <a:sy n="107" d="100"/>
        </p:scale>
        <p:origin x="138" y="1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90" d="100"/>
        <a:sy n="190" d="100"/>
      </p:scale>
      <p:origin x="0" y="-8155"/>
    </p:cViewPr>
  </p:sorterViewPr>
  <p:notesViewPr>
    <p:cSldViewPr snapToGrid="0" snapToObjects="1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ne Tangen" userId="ec6dd4d0-9964-4f1e-b96c-324c3d55b21c" providerId="ADAL" clId="{5EEEAFC5-F6C0-4FB7-A7B7-027073A1BA36}"/>
    <pc:docChg chg="undo custSel addSld delSld modSld sldOrd delMainMaster replTag">
      <pc:chgData name="Une Tangen" userId="ec6dd4d0-9964-4f1e-b96c-324c3d55b21c" providerId="ADAL" clId="{5EEEAFC5-F6C0-4FB7-A7B7-027073A1BA36}" dt="2023-12-12T14:28:33.507" v="3862" actId="20577"/>
      <pc:docMkLst>
        <pc:docMk/>
      </pc:docMkLst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0" sldId="256"/>
        </pc:sldMkLst>
      </pc:sldChg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0" sldId="259"/>
        </pc:sldMkLst>
      </pc:sldChg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0" sldId="260"/>
        </pc:sldMkLst>
      </pc:sldChg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0" sldId="261"/>
        </pc:sldMkLst>
      </pc:sldChg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0" sldId="263"/>
        </pc:sldMkLst>
      </pc:sldChg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0" sldId="272"/>
        </pc:sldMkLst>
      </pc:sldChg>
      <pc:sldChg chg="modSp mod">
        <pc:chgData name="Une Tangen" userId="ec6dd4d0-9964-4f1e-b96c-324c3d55b21c" providerId="ADAL" clId="{5EEEAFC5-F6C0-4FB7-A7B7-027073A1BA36}" dt="2023-12-12T14:26:36.543" v="3817" actId="20577"/>
        <pc:sldMkLst>
          <pc:docMk/>
          <pc:sldMk cId="2337954059" sldId="370"/>
        </pc:sldMkLst>
        <pc:spChg chg="mod">
          <ac:chgData name="Une Tangen" userId="ec6dd4d0-9964-4f1e-b96c-324c3d55b21c" providerId="ADAL" clId="{5EEEAFC5-F6C0-4FB7-A7B7-027073A1BA36}" dt="2023-12-12T14:26:36.543" v="3817" actId="20577"/>
          <ac:spMkLst>
            <pc:docMk/>
            <pc:sldMk cId="2337954059" sldId="370"/>
            <ac:spMk id="2" creationId="{00000000-0000-0000-0000-000000000000}"/>
          </ac:spMkLst>
        </pc:spChg>
      </pc:sldChg>
      <pc:sldChg chg="modSp mod">
        <pc:chgData name="Une Tangen" userId="ec6dd4d0-9964-4f1e-b96c-324c3d55b21c" providerId="ADAL" clId="{5EEEAFC5-F6C0-4FB7-A7B7-027073A1BA36}" dt="2023-12-12T14:26:52.200" v="3833" actId="20577"/>
        <pc:sldMkLst>
          <pc:docMk/>
          <pc:sldMk cId="1353318746" sldId="396"/>
        </pc:sldMkLst>
        <pc:spChg chg="mod">
          <ac:chgData name="Une Tangen" userId="ec6dd4d0-9964-4f1e-b96c-324c3d55b21c" providerId="ADAL" clId="{5EEEAFC5-F6C0-4FB7-A7B7-027073A1BA36}" dt="2023-12-12T14:26:17.619" v="3756"/>
          <ac:spMkLst>
            <pc:docMk/>
            <pc:sldMk cId="1353318746" sldId="396"/>
            <ac:spMk id="2" creationId="{CBD38024-8F0D-B95E-3436-8832D8E7C73E}"/>
          </ac:spMkLst>
        </pc:spChg>
        <pc:spChg chg="mod">
          <ac:chgData name="Une Tangen" userId="ec6dd4d0-9964-4f1e-b96c-324c3d55b21c" providerId="ADAL" clId="{5EEEAFC5-F6C0-4FB7-A7B7-027073A1BA36}" dt="2023-12-12T14:26:52.200" v="3833" actId="20577"/>
          <ac:spMkLst>
            <pc:docMk/>
            <pc:sldMk cId="1353318746" sldId="396"/>
            <ac:spMk id="4" creationId="{8447200A-BF30-CAAC-4816-24A521FE1F27}"/>
          </ac:spMkLst>
        </pc:spChg>
        <pc:spChg chg="mod">
          <ac:chgData name="Une Tangen" userId="ec6dd4d0-9964-4f1e-b96c-324c3d55b21c" providerId="ADAL" clId="{5EEEAFC5-F6C0-4FB7-A7B7-027073A1BA36}" dt="2023-12-12T14:26:17.606" v="3754"/>
          <ac:spMkLst>
            <pc:docMk/>
            <pc:sldMk cId="1353318746" sldId="396"/>
            <ac:spMk id="6" creationId="{00000000-0000-0000-0000-000000000000}"/>
          </ac:spMkLst>
        </pc:spChg>
      </pc:sldChg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2030216187" sldId="397"/>
        </pc:sldMkLst>
      </pc:sldChg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0" sldId="399"/>
        </pc:sldMkLst>
      </pc:sldChg>
      <pc:sldChg chg="del">
        <pc:chgData name="Une Tangen" userId="ec6dd4d0-9964-4f1e-b96c-324c3d55b21c" providerId="ADAL" clId="{5EEEAFC5-F6C0-4FB7-A7B7-027073A1BA36}" dt="2023-12-11T21:32:50.382" v="948" actId="47"/>
        <pc:sldMkLst>
          <pc:docMk/>
          <pc:sldMk cId="2767667762" sldId="400"/>
        </pc:sldMkLst>
      </pc:sldChg>
      <pc:sldChg chg="addSp delSp modSp add mod">
        <pc:chgData name="Une Tangen" userId="ec6dd4d0-9964-4f1e-b96c-324c3d55b21c" providerId="ADAL" clId="{5EEEAFC5-F6C0-4FB7-A7B7-027073A1BA36}" dt="2023-12-12T14:27:35.718" v="3851" actId="20577"/>
        <pc:sldMkLst>
          <pc:docMk/>
          <pc:sldMk cId="3436444504" sldId="401"/>
        </pc:sldMkLst>
        <pc:spChg chg="del">
          <ac:chgData name="Une Tangen" userId="ec6dd4d0-9964-4f1e-b96c-324c3d55b21c" providerId="ADAL" clId="{5EEEAFC5-F6C0-4FB7-A7B7-027073A1BA36}" dt="2023-12-11T21:15:31.680" v="2" actId="478"/>
          <ac:spMkLst>
            <pc:docMk/>
            <pc:sldMk cId="3436444504" sldId="401"/>
            <ac:spMk id="2" creationId="{CBD38024-8F0D-B95E-3436-8832D8E7C73E}"/>
          </ac:spMkLst>
        </pc:spChg>
        <pc:spChg chg="del">
          <ac:chgData name="Une Tangen" userId="ec6dd4d0-9964-4f1e-b96c-324c3d55b21c" providerId="ADAL" clId="{5EEEAFC5-F6C0-4FB7-A7B7-027073A1BA36}" dt="2023-12-11T21:15:29.679" v="1" actId="478"/>
          <ac:spMkLst>
            <pc:docMk/>
            <pc:sldMk cId="3436444504" sldId="401"/>
            <ac:spMk id="4" creationId="{8447200A-BF30-CAAC-4816-24A521FE1F27}"/>
          </ac:spMkLst>
        </pc:spChg>
        <pc:spChg chg="mod">
          <ac:chgData name="Une Tangen" userId="ec6dd4d0-9964-4f1e-b96c-324c3d55b21c" providerId="ADAL" clId="{5EEEAFC5-F6C0-4FB7-A7B7-027073A1BA36}" dt="2023-12-12T14:26:17.644" v="3760"/>
          <ac:spMkLst>
            <pc:docMk/>
            <pc:sldMk cId="3436444504" sldId="401"/>
            <ac:spMk id="6" creationId="{00000000-0000-0000-0000-000000000000}"/>
          </ac:spMkLst>
        </pc:spChg>
        <pc:spChg chg="add del mod">
          <ac:chgData name="Une Tangen" userId="ec6dd4d0-9964-4f1e-b96c-324c3d55b21c" providerId="ADAL" clId="{5EEEAFC5-F6C0-4FB7-A7B7-027073A1BA36}" dt="2023-12-11T21:16:22.434" v="18" actId="478"/>
          <ac:spMkLst>
            <pc:docMk/>
            <pc:sldMk cId="3436444504" sldId="401"/>
            <ac:spMk id="8" creationId="{A98F926B-D53E-6C7B-91E7-312560A7A2D9}"/>
          </ac:spMkLst>
        </pc:spChg>
        <pc:spChg chg="add del mod">
          <ac:chgData name="Une Tangen" userId="ec6dd4d0-9964-4f1e-b96c-324c3d55b21c" providerId="ADAL" clId="{5EEEAFC5-F6C0-4FB7-A7B7-027073A1BA36}" dt="2023-12-11T21:16:37.281" v="24" actId="478"/>
          <ac:spMkLst>
            <pc:docMk/>
            <pc:sldMk cId="3436444504" sldId="401"/>
            <ac:spMk id="10" creationId="{109AA769-47E2-A35A-E622-ACEEC3968D7F}"/>
          </ac:spMkLst>
        </pc:spChg>
        <pc:spChg chg="add mod">
          <ac:chgData name="Une Tangen" userId="ec6dd4d0-9964-4f1e-b96c-324c3d55b21c" providerId="ADAL" clId="{5EEEAFC5-F6C0-4FB7-A7B7-027073A1BA36}" dt="2023-12-12T14:26:17.651" v="3762"/>
          <ac:spMkLst>
            <pc:docMk/>
            <pc:sldMk cId="3436444504" sldId="401"/>
            <ac:spMk id="12" creationId="{C6ED0125-3E1A-7A89-BBFA-1AE9E0A5C576}"/>
          </ac:spMkLst>
        </pc:spChg>
        <pc:graphicFrameChg chg="add del mod modGraphic">
          <ac:chgData name="Une Tangen" userId="ec6dd4d0-9964-4f1e-b96c-324c3d55b21c" providerId="ADAL" clId="{5EEEAFC5-F6C0-4FB7-A7B7-027073A1BA36}" dt="2023-12-11T21:15:43.771" v="6" actId="478"/>
          <ac:graphicFrameMkLst>
            <pc:docMk/>
            <pc:sldMk cId="3436444504" sldId="401"/>
            <ac:graphicFrameMk id="3" creationId="{526BE425-87D9-A5A5-61B7-79D35C3EFFE6}"/>
          </ac:graphicFrameMkLst>
        </pc:graphicFrameChg>
        <pc:graphicFrameChg chg="add del mod">
          <ac:chgData name="Une Tangen" userId="ec6dd4d0-9964-4f1e-b96c-324c3d55b21c" providerId="ADAL" clId="{5EEEAFC5-F6C0-4FB7-A7B7-027073A1BA36}" dt="2023-12-11T21:15:49.488" v="8" actId="478"/>
          <ac:graphicFrameMkLst>
            <pc:docMk/>
            <pc:sldMk cId="3436444504" sldId="401"/>
            <ac:graphicFrameMk id="5" creationId="{CEE1BA7A-4F29-BF1C-DBED-179670C3652B}"/>
          </ac:graphicFrameMkLst>
        </pc:graphicFrameChg>
        <pc:graphicFrameChg chg="add del mod">
          <ac:chgData name="Une Tangen" userId="ec6dd4d0-9964-4f1e-b96c-324c3d55b21c" providerId="ADAL" clId="{5EEEAFC5-F6C0-4FB7-A7B7-027073A1BA36}" dt="2023-12-11T21:16:16.185" v="13" actId="478"/>
          <ac:graphicFrameMkLst>
            <pc:docMk/>
            <pc:sldMk cId="3436444504" sldId="401"/>
            <ac:graphicFrameMk id="7" creationId="{B46EBA72-773A-4ED5-C3AC-CC4D5CFFA38C}"/>
          </ac:graphicFrameMkLst>
        </pc:graphicFrameChg>
        <pc:graphicFrameChg chg="add del mod modGraphic">
          <ac:chgData name="Une Tangen" userId="ec6dd4d0-9964-4f1e-b96c-324c3d55b21c" providerId="ADAL" clId="{5EEEAFC5-F6C0-4FB7-A7B7-027073A1BA36}" dt="2023-12-11T21:37:47.931" v="1336" actId="478"/>
          <ac:graphicFrameMkLst>
            <pc:docMk/>
            <pc:sldMk cId="3436444504" sldId="401"/>
            <ac:graphicFrameMk id="11" creationId="{28A8B3DE-BBBB-2835-AE4B-76AD7F9F41DE}"/>
          </ac:graphicFrameMkLst>
        </pc:graphicFrameChg>
        <pc:graphicFrameChg chg="add mod modGraphic">
          <ac:chgData name="Une Tangen" userId="ec6dd4d0-9964-4f1e-b96c-324c3d55b21c" providerId="ADAL" clId="{5EEEAFC5-F6C0-4FB7-A7B7-027073A1BA36}" dt="2023-12-12T14:27:35.718" v="3851" actId="20577"/>
          <ac:graphicFrameMkLst>
            <pc:docMk/>
            <pc:sldMk cId="3436444504" sldId="401"/>
            <ac:graphicFrameMk id="13" creationId="{2F41E21F-8FF9-2CDE-82EC-6A2BA3BB9502}"/>
          </ac:graphicFrameMkLst>
        </pc:graphicFrameChg>
      </pc:sldChg>
      <pc:sldChg chg="addSp delSp modSp add mod ord">
        <pc:chgData name="Une Tangen" userId="ec6dd4d0-9964-4f1e-b96c-324c3d55b21c" providerId="ADAL" clId="{5EEEAFC5-F6C0-4FB7-A7B7-027073A1BA36}" dt="2023-12-12T14:28:33.507" v="3862" actId="20577"/>
        <pc:sldMkLst>
          <pc:docMk/>
          <pc:sldMk cId="4062333642" sldId="402"/>
        </pc:sldMkLst>
        <pc:spChg chg="add del mod">
          <ac:chgData name="Une Tangen" userId="ec6dd4d0-9964-4f1e-b96c-324c3d55b21c" providerId="ADAL" clId="{5EEEAFC5-F6C0-4FB7-A7B7-027073A1BA36}" dt="2023-12-12T14:26:17.701" v="3770"/>
          <ac:spMkLst>
            <pc:docMk/>
            <pc:sldMk cId="4062333642" sldId="402"/>
            <ac:spMk id="2" creationId="{CBD38024-8F0D-B95E-3436-8832D8E7C73E}"/>
          </ac:spMkLst>
        </pc:spChg>
        <pc:spChg chg="del">
          <ac:chgData name="Une Tangen" userId="ec6dd4d0-9964-4f1e-b96c-324c3d55b21c" providerId="ADAL" clId="{5EEEAFC5-F6C0-4FB7-A7B7-027073A1BA36}" dt="2023-12-11T21:43:37.141" v="1451" actId="478"/>
          <ac:spMkLst>
            <pc:docMk/>
            <pc:sldMk cId="4062333642" sldId="402"/>
            <ac:spMk id="4" creationId="{8447200A-BF30-CAAC-4816-24A521FE1F27}"/>
          </ac:spMkLst>
        </pc:spChg>
        <pc:spChg chg="del">
          <ac:chgData name="Une Tangen" userId="ec6dd4d0-9964-4f1e-b96c-324c3d55b21c" providerId="ADAL" clId="{5EEEAFC5-F6C0-4FB7-A7B7-027073A1BA36}" dt="2023-12-11T21:43:51.323" v="1454" actId="478"/>
          <ac:spMkLst>
            <pc:docMk/>
            <pc:sldMk cId="4062333642" sldId="402"/>
            <ac:spMk id="6" creationId="{00000000-0000-0000-0000-000000000000}"/>
          </ac:spMkLst>
        </pc:spChg>
        <pc:graphicFrameChg chg="add del mod">
          <ac:chgData name="Une Tangen" userId="ec6dd4d0-9964-4f1e-b96c-324c3d55b21c" providerId="ADAL" clId="{5EEEAFC5-F6C0-4FB7-A7B7-027073A1BA36}" dt="2023-12-11T21:43:45.511" v="1453"/>
          <ac:graphicFrameMkLst>
            <pc:docMk/>
            <pc:sldMk cId="4062333642" sldId="402"/>
            <ac:graphicFrameMk id="3" creationId="{D0EFFF3A-33A8-716E-5538-F200246FB732}"/>
          </ac:graphicFrameMkLst>
        </pc:graphicFrameChg>
        <pc:graphicFrameChg chg="add del mod modGraphic">
          <ac:chgData name="Une Tangen" userId="ec6dd4d0-9964-4f1e-b96c-324c3d55b21c" providerId="ADAL" clId="{5EEEAFC5-F6C0-4FB7-A7B7-027073A1BA36}" dt="2023-12-11T21:43:57.213" v="1457" actId="478"/>
          <ac:graphicFrameMkLst>
            <pc:docMk/>
            <pc:sldMk cId="4062333642" sldId="402"/>
            <ac:graphicFrameMk id="5" creationId="{277C9D20-75DD-11F2-CB6F-F7B4E80EB831}"/>
          </ac:graphicFrameMkLst>
        </pc:graphicFrameChg>
        <pc:graphicFrameChg chg="add del mod">
          <ac:chgData name="Une Tangen" userId="ec6dd4d0-9964-4f1e-b96c-324c3d55b21c" providerId="ADAL" clId="{5EEEAFC5-F6C0-4FB7-A7B7-027073A1BA36}" dt="2023-12-11T21:48:36.341" v="2222" actId="478"/>
          <ac:graphicFrameMkLst>
            <pc:docMk/>
            <pc:sldMk cId="4062333642" sldId="402"/>
            <ac:graphicFrameMk id="8" creationId="{A6F74802-54CE-E391-C4EE-36BFEE5BEC5E}"/>
          </ac:graphicFrameMkLst>
        </pc:graphicFrameChg>
        <pc:graphicFrameChg chg="add mod modGraphic">
          <ac:chgData name="Une Tangen" userId="ec6dd4d0-9964-4f1e-b96c-324c3d55b21c" providerId="ADAL" clId="{5EEEAFC5-F6C0-4FB7-A7B7-027073A1BA36}" dt="2023-12-12T14:28:33.507" v="3862" actId="20577"/>
          <ac:graphicFrameMkLst>
            <pc:docMk/>
            <pc:sldMk cId="4062333642" sldId="402"/>
            <ac:graphicFrameMk id="9" creationId="{52DB560B-09C5-DDC1-7FF6-02AE9F6BDC16}"/>
          </ac:graphicFrameMkLst>
        </pc:graphicFrameChg>
        <pc:picChg chg="add del">
          <ac:chgData name="Une Tangen" userId="ec6dd4d0-9964-4f1e-b96c-324c3d55b21c" providerId="ADAL" clId="{5EEEAFC5-F6C0-4FB7-A7B7-027073A1BA36}" dt="2023-12-11T21:44:05.749" v="1459" actId="478"/>
          <ac:picMkLst>
            <pc:docMk/>
            <pc:sldMk cId="4062333642" sldId="402"/>
            <ac:picMk id="7" creationId="{AFB8F225-498E-D982-6C91-1B8D466B9A11}"/>
          </ac:picMkLst>
        </pc:picChg>
      </pc:sldChg>
      <pc:sldChg chg="addSp delSp modSp add mod ord">
        <pc:chgData name="Une Tangen" userId="ec6dd4d0-9964-4f1e-b96c-324c3d55b21c" providerId="ADAL" clId="{5EEEAFC5-F6C0-4FB7-A7B7-027073A1BA36}" dt="2023-12-12T14:26:17.690" v="3768"/>
        <pc:sldMkLst>
          <pc:docMk/>
          <pc:sldMk cId="2181100645" sldId="403"/>
        </pc:sldMkLst>
        <pc:spChg chg="mod">
          <ac:chgData name="Une Tangen" userId="ec6dd4d0-9964-4f1e-b96c-324c3d55b21c" providerId="ADAL" clId="{5EEEAFC5-F6C0-4FB7-A7B7-027073A1BA36}" dt="2023-12-12T14:26:17.676" v="3766"/>
          <ac:spMkLst>
            <pc:docMk/>
            <pc:sldMk cId="2181100645" sldId="403"/>
            <ac:spMk id="2" creationId="{CBD38024-8F0D-B95E-3436-8832D8E7C73E}"/>
          </ac:spMkLst>
        </pc:spChg>
        <pc:spChg chg="mod">
          <ac:chgData name="Une Tangen" userId="ec6dd4d0-9964-4f1e-b96c-324c3d55b21c" providerId="ADAL" clId="{5EEEAFC5-F6C0-4FB7-A7B7-027073A1BA36}" dt="2023-12-12T14:26:17.690" v="3768"/>
          <ac:spMkLst>
            <pc:docMk/>
            <pc:sldMk cId="2181100645" sldId="403"/>
            <ac:spMk id="4" creationId="{8447200A-BF30-CAAC-4816-24A521FE1F27}"/>
          </ac:spMkLst>
        </pc:spChg>
        <pc:spChg chg="mod">
          <ac:chgData name="Une Tangen" userId="ec6dd4d0-9964-4f1e-b96c-324c3d55b21c" providerId="ADAL" clId="{5EEEAFC5-F6C0-4FB7-A7B7-027073A1BA36}" dt="2023-12-12T14:26:17.665" v="3764"/>
          <ac:spMkLst>
            <pc:docMk/>
            <pc:sldMk cId="2181100645" sldId="403"/>
            <ac:spMk id="6" creationId="{00000000-0000-0000-0000-000000000000}"/>
          </ac:spMkLst>
        </pc:spChg>
        <pc:graphicFrameChg chg="add del mod">
          <ac:chgData name="Une Tangen" userId="ec6dd4d0-9964-4f1e-b96c-324c3d55b21c" providerId="ADAL" clId="{5EEEAFC5-F6C0-4FB7-A7B7-027073A1BA36}" dt="2023-12-11T22:00:52.185" v="2789" actId="478"/>
          <ac:graphicFrameMkLst>
            <pc:docMk/>
            <pc:sldMk cId="2181100645" sldId="403"/>
            <ac:graphicFrameMk id="3" creationId="{625509E0-17C8-2458-8F46-B1ADBE011B23}"/>
          </ac:graphicFrameMkLst>
        </pc:graphicFrameChg>
      </pc:sldChg>
      <pc:sldMasterChg chg="del delSldLayout">
        <pc:chgData name="Une Tangen" userId="ec6dd4d0-9964-4f1e-b96c-324c3d55b21c" providerId="ADAL" clId="{5EEEAFC5-F6C0-4FB7-A7B7-027073A1BA36}" dt="2023-12-11T21:32:50.382" v="948" actId="47"/>
        <pc:sldMasterMkLst>
          <pc:docMk/>
          <pc:sldMasterMk cId="1304803276" sldId="2147483936"/>
        </pc:sldMasterMkLst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117976465" sldId="2147483937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018448420" sldId="2147483938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917153210" sldId="2147483939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361678399" sldId="2147483940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199508509" sldId="2147483941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042205355" sldId="2147483942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381854289" sldId="2147483943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2048695582" sldId="2147483944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2264241481" sldId="2147483945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896438919" sldId="2147483946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14264072" sldId="2147483947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77176806" sldId="2147483948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305959707" sldId="2147483949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269099199" sldId="2147483950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211173211" sldId="2147483951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2949785856" sldId="2147483952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70166130" sldId="2147483953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4181962840" sldId="2147483954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569651465" sldId="2147483955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912515852" sldId="2147483956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211650351" sldId="2147483957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2079433678" sldId="2147483958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053506656" sldId="2147483959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584449839" sldId="2147483960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349861570" sldId="2147483961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4159647902" sldId="2147483962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2479094304" sldId="2147483963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704247588" sldId="2147483964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1193595396" sldId="2147483965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04803276" sldId="2147483936"/>
            <pc:sldLayoutMk cId="3670540110" sldId="2147483966"/>
          </pc:sldLayoutMkLst>
        </pc:sldLayoutChg>
      </pc:sldMasterChg>
      <pc:sldMasterChg chg="del delSldLayout">
        <pc:chgData name="Une Tangen" userId="ec6dd4d0-9964-4f1e-b96c-324c3d55b21c" providerId="ADAL" clId="{5EEEAFC5-F6C0-4FB7-A7B7-027073A1BA36}" dt="2023-12-11T21:32:50.382" v="948" actId="47"/>
        <pc:sldMasterMkLst>
          <pc:docMk/>
          <pc:sldMasterMk cId="1359583272" sldId="2147483967"/>
        </pc:sldMasterMkLst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1846803159" sldId="2147483968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2417610730" sldId="2147483969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3173833526" sldId="2147483970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2984364273" sldId="2147483971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1282306899" sldId="2147483972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2666907703" sldId="2147483973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12441102" sldId="2147483974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4085634966" sldId="2147483975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1141258190" sldId="2147483976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927754252" sldId="2147483977"/>
          </pc:sldLayoutMkLst>
        </pc:sldLayoutChg>
        <pc:sldLayoutChg chg="del">
          <pc:chgData name="Une Tangen" userId="ec6dd4d0-9964-4f1e-b96c-324c3d55b21c" providerId="ADAL" clId="{5EEEAFC5-F6C0-4FB7-A7B7-027073A1BA36}" dt="2023-12-11T21:32:50.382" v="948" actId="47"/>
          <pc:sldLayoutMkLst>
            <pc:docMk/>
            <pc:sldMasterMk cId="1359583272" sldId="2147483967"/>
            <pc:sldLayoutMk cId="3953624153" sldId="2147483978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6778F-9D10-D546-AD42-60AA27D9D64A}" type="datetimeFigureOut">
              <a:t>12.12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5C552-36E2-FE4A-8959-3A7D73BFBA2A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8919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58641E-22C6-442F-B7A7-A6EDCE5CAC5A}" type="datetimeFigureOut">
              <a:rPr lang="nb-NO" smtClean="0"/>
              <a:t>12.12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73965F-E4D9-4280-9CE3-125098F02CB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5400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sz="11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20ECF6-CBA6-4537-B7B7-E29CDAD6BD8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844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19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1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138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S_Tittel mast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9915291" cy="466880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28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64227" y="2794020"/>
            <a:ext cx="8534400" cy="516192"/>
          </a:xfrm>
        </p:spPr>
        <p:txBody>
          <a:bodyPr lIns="0" tIns="0" bIns="0">
            <a:normAutofit/>
          </a:bodyPr>
          <a:lstStyle>
            <a:lvl1pPr marL="0" indent="0" algn="l">
              <a:buNone/>
              <a:defRPr sz="200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Navn Etternavn</a:t>
            </a:r>
          </a:p>
        </p:txBody>
      </p:sp>
    </p:spTree>
    <p:extLst>
      <p:ext uri="{BB962C8B-B14F-4D97-AF65-F5344CB8AC3E}">
        <p14:creationId xmlns:p14="http://schemas.microsoft.com/office/powerpoint/2010/main" val="54340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73634D28-3219-E941-92E0-F52DC949C6E6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72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29D1D2B5-0901-D345-8691-F4D34AE88383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73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S_Tittel mast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64229" y="2196036"/>
            <a:ext cx="9915291" cy="466880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28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64227" y="2794020"/>
            <a:ext cx="8534400" cy="516192"/>
          </a:xfrm>
        </p:spPr>
        <p:txBody>
          <a:bodyPr lIns="0" tIns="0" bIns="0">
            <a:normAutofit/>
          </a:bodyPr>
          <a:lstStyle>
            <a:lvl1pPr marL="0" indent="0" algn="l">
              <a:buNone/>
              <a:defRPr sz="200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Navn Etternavn</a:t>
            </a:r>
          </a:p>
        </p:txBody>
      </p:sp>
    </p:spTree>
    <p:extLst>
      <p:ext uri="{BB962C8B-B14F-4D97-AF65-F5344CB8AC3E}">
        <p14:creationId xmlns:p14="http://schemas.microsoft.com/office/powerpoint/2010/main" val="18832926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617953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B1E7DC70-45B6-5248-9714-AE001EF67D5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267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83A8DDF2-AF9E-9043-8B2A-587A6854AB3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42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2EE177D-F380-4A4D-842E-5C2101813C7A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125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00756E3-28AA-5E40-BBBF-2FBFC7E67311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063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A3240655-7A1B-1140-9658-641020A7094A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740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606533A-C20D-5743-8623-71C0F8E8C41B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284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668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084D571D-C947-1B4F-AB1F-BDDE39ED8F7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5713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73634D28-3219-E941-92E0-F52DC949C6E6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5110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29D1D2B5-0901-D345-8691-F4D34AE88383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02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625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0" cap="none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527067" y="1844679"/>
            <a:ext cx="11137900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68414587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2 colum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3" y="476252"/>
            <a:ext cx="11137899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chemeClr val="accent3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641"/>
            <a:ext cx="11137900" cy="28761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7052" y="1844679"/>
            <a:ext cx="5376333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288619" y="1844679"/>
            <a:ext cx="5376333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4253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520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069211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hv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27051" y="1557342"/>
            <a:ext cx="8544984" cy="1211977"/>
          </a:xfrm>
        </p:spPr>
        <p:txBody>
          <a:bodyPr wrap="square" anchor="b" anchorCtr="0">
            <a:normAutofit/>
          </a:bodyPr>
          <a:lstStyle>
            <a:lvl1pPr>
              <a:defRPr sz="4000" b="1" i="1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Click to add section divider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7051" y="3068640"/>
            <a:ext cx="8352368" cy="307776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  <a:latin typeface="+mn-lt"/>
              </a:defRPr>
            </a:lvl1pPr>
            <a:lvl2pPr marL="456377" indent="0">
              <a:buNone/>
              <a:defRPr sz="1800"/>
            </a:lvl2pPr>
            <a:lvl3pPr marL="912756" indent="0">
              <a:buNone/>
              <a:defRPr sz="1500"/>
            </a:lvl3pPr>
            <a:lvl4pPr marL="1369132" indent="0">
              <a:buNone/>
              <a:defRPr sz="1400"/>
            </a:lvl4pPr>
            <a:lvl5pPr marL="1825516" indent="0">
              <a:buNone/>
              <a:defRPr sz="1400"/>
            </a:lvl5pPr>
            <a:lvl6pPr marL="2281895" indent="0">
              <a:buNone/>
              <a:defRPr sz="1400"/>
            </a:lvl6pPr>
            <a:lvl7pPr marL="2738274" indent="0">
              <a:buNone/>
              <a:defRPr sz="1400"/>
            </a:lvl7pPr>
            <a:lvl8pPr marL="3194652" indent="0">
              <a:buNone/>
              <a:defRPr sz="1400"/>
            </a:lvl8pPr>
            <a:lvl9pPr marL="3651032" indent="0">
              <a:buNone/>
              <a:defRPr sz="1400"/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  <p:cxnSp>
        <p:nvCxnSpPr>
          <p:cNvPr id="18" name="Rett linje 12"/>
          <p:cNvCxnSpPr/>
          <p:nvPr userDrawn="1"/>
        </p:nvCxnSpPr>
        <p:spPr>
          <a:xfrm>
            <a:off x="527053" y="2924944"/>
            <a:ext cx="8544984" cy="0"/>
          </a:xfrm>
          <a:prstGeom prst="line">
            <a:avLst/>
          </a:prstGeom>
          <a:ln w="31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18340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 (light green)">
    <p:bg>
      <p:bgPr>
        <a:solidFill>
          <a:srgbClr val="DB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520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808716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31373" y="332656"/>
            <a:ext cx="11329259" cy="6048672"/>
          </a:xfrm>
          <a:prstGeom prst="rect">
            <a:avLst/>
          </a:prstGeom>
          <a:solidFill>
            <a:schemeClr val="accent5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2" tIns="45651" rIns="91292" bIns="45651" rtlCol="0" anchor="t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6591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295401" y="3213100"/>
            <a:ext cx="9696451" cy="259238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bg1"/>
                </a:solidFill>
              </a:defRPr>
            </a:lvl2pPr>
            <a:lvl3pPr algn="ctr">
              <a:defRPr sz="2000">
                <a:solidFill>
                  <a:schemeClr val="bg1"/>
                </a:solidFill>
              </a:defRPr>
            </a:lvl3pPr>
            <a:lvl4pPr algn="ctr">
              <a:defRPr sz="2000">
                <a:solidFill>
                  <a:schemeClr val="bg1"/>
                </a:solidFill>
              </a:defRPr>
            </a:lvl4pPr>
            <a:lvl5pPr algn="ctr"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295412" y="476251"/>
            <a:ext cx="9696453" cy="2305050"/>
          </a:xfrm>
        </p:spPr>
        <p:txBody>
          <a:bodyPr wrap="square" anchor="b" anchorCtr="0">
            <a:normAutofit/>
          </a:bodyPr>
          <a:lstStyle>
            <a:lvl1pPr algn="ctr">
              <a:lnSpc>
                <a:spcPct val="120000"/>
              </a:lnSpc>
              <a:defRPr sz="6000" b="1" i="1" cap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ighlight</a:t>
            </a:r>
          </a:p>
        </p:txBody>
      </p:sp>
    </p:spTree>
    <p:extLst>
      <p:ext uri="{BB962C8B-B14F-4D97-AF65-F5344CB8AC3E}">
        <p14:creationId xmlns:p14="http://schemas.microsoft.com/office/powerpoint/2010/main" val="3730298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B1E7DC70-45B6-5248-9714-AE001EF67D5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37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(bordeaux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060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(black)">
    <p:bg>
      <p:bgPr>
        <a:solidFill>
          <a:schemeClr val="accent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599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12429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60416" y="6623221"/>
            <a:ext cx="3860800" cy="115195"/>
          </a:xfrm>
          <a:prstGeom prst="rect">
            <a:avLst/>
          </a:prstGeom>
        </p:spPr>
        <p:txBody>
          <a:bodyPr vert="horz" lIns="0" tIns="72000" rIns="36000" bIns="72000" rtlCol="0" anchor="ctr"/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C3AFCC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509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207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21069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90936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18758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89474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2210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83A8DDF2-AF9E-9043-8B2A-587A6854AB3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80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97030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97052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47016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051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0133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5759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9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56" y="6159560"/>
            <a:ext cx="3137663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7341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84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84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41" y="617384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878817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278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98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2EE177D-F380-4A4D-842E-5C2101813C7A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6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329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0888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9752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5524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0245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7493467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7818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36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5064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9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1839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D_PresentationTitle">
            <a:extLst>
              <a:ext uri="{FF2B5EF4-FFF2-40B4-BE49-F238E27FC236}">
                <a16:creationId xmlns:a16="http://schemas.microsoft.com/office/drawing/2014/main" id="{B1DAA5DF-5AA7-49EC-ACBF-10E8A19712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4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9" name="FLD_PresentationTitle_2">
            <a:extLst>
              <a:ext uri="{FF2B5EF4-FFF2-40B4-BE49-F238E27FC236}">
                <a16:creationId xmlns:a16="http://schemas.microsoft.com/office/drawing/2014/main" id="{5B27253C-39D7-4448-BD0F-A9FC3677BCBD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6" y="1139480"/>
            <a:ext cx="9773924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3328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C6EA742-E999-426B-9F1C-33524D47A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09BA1C59-AB8D-4ACE-A4C9-3A97AB0B83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13F78D9-42B8-43DD-B9D4-11FA41011F45}" type="datetime1">
              <a:rPr lang="en-GB" smtClean="0"/>
              <a:t>12/12/2023</a:t>
            </a:fld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B368B35-1A95-4DB8-9489-9493B9DFE5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6" y="6308351"/>
            <a:ext cx="2826826" cy="25554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9F306B5-2FFE-4AA8-BFAA-FEED344911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20510" y="6218317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476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8" y="409474"/>
            <a:ext cx="9773923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463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32F99A81-D9A2-4F30-8989-49FBFDFFB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4677BC5A-C865-45E8-BEA2-32CF74611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BCB23DC-9A5C-4856-B9D3-C9BA6C166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788896D-DB7F-4431-AB25-726EE7A5E2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82302" y="6158175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5339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00756E3-28AA-5E40-BBBF-2FBFC7E67311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65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solidFill>
            <a:srgbClr val="F6F6F4"/>
          </a:solidFill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2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922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F31626DF-C504-456C-BABA-F9E112AEA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Footer Placeholder 4" hidden="1">
            <a:extLst>
              <a:ext uri="{FF2B5EF4-FFF2-40B4-BE49-F238E27FC236}">
                <a16:creationId xmlns:a16="http://schemas.microsoft.com/office/drawing/2014/main" id="{148EA343-9CD9-4A35-8E70-A9FAF3855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D46E539C-AF02-4268-B134-91B646ABB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71DD6B-2BD1-40F7-8209-3A56F24448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44776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05C9348-6845-4A4F-958A-4A052BC8E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7330441" cy="5254627"/>
          </a:xfrm>
        </p:spPr>
        <p:txBody>
          <a:bodyPr/>
          <a:lstStyle>
            <a:lvl1pPr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9783461-93EA-4162-AC89-71558EC415F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EE38BD6-B0DE-4974-8C0E-549D4DF8A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4F117C74-452F-4005-AE59-9EDC236F06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39E358D6-2C07-4588-BB20-50FD0000CCEB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90265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C666208A-F4F9-4299-9F9F-6881C4C0856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4886960" cy="5254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5691-DC33-4C04-AF2A-3DEFF887B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F99201D3-72C4-4206-8970-FC1ACB02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E6892AED-DD77-42C7-BB42-12F75B7E66E8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7416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618" y="1633160"/>
            <a:ext cx="10590003" cy="4086866"/>
          </a:xfrm>
        </p:spPr>
        <p:txBody>
          <a:bodyPr/>
          <a:lstStyle>
            <a:lvl1pPr marL="361878" indent="-361878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6938" indent="-265060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CD4A6F46-B6F7-4994-AAE4-379699F66888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5307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15799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88696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0071" y="1644651"/>
            <a:ext cx="4888549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64885CE-5A72-464C-A675-4AEA666E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51C8650-3279-4A76-90A4-98B51440301C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81403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35335C1-5736-449E-B5A3-80EF8EFB92D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85578" y="1644651"/>
            <a:ext cx="5703042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85281A-363B-4F1C-8128-EA4AF5256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B0E6362C-AD60-4A3E-B1BD-8ACCD0B3D7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B13202A9-DE11-408D-9B8A-7630BF567349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22853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14EC495-A6B9-4C60-A011-7047269C9C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4565" y="1644651"/>
            <a:ext cx="4074055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EC9E1-A6E7-4EDC-A604-820C98771D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73643761-53E5-4729-8F9C-AC57323CE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620D795-7D6C-4DDD-9364-2C8C35AA87F6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51482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8959428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FB39600-48A6-438C-ACEE-E7C3FBF9C3A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9" y="452439"/>
            <a:ext cx="801068" cy="800779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DE7E55-1B3D-4B43-B1B5-DE5E4FAB9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5D459F2-4C14-4DC3-8A9D-B1E9DF21E4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B90C0BA-1BD5-469D-8018-C447C1EB2A93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78610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89594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8" y="1644652"/>
            <a:ext cx="818272" cy="817976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1502FD-B05E-464F-8932-42D027579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AA65EC4C-43E8-483C-B54B-30D5535BB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2DADF78-B3EF-4042-B2F9-5AAFBCE5A22E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3805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A3240655-7A1B-1140-9658-641020A7094A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6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llustrati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651594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29058" y="1644653"/>
            <a:ext cx="3259562" cy="3239941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B97A6BE-821A-4BF5-AFE7-9A048351C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815BEB-2C63-4CBF-9795-6F1502266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BA51A42-5836-428D-B66B-B65A92E2CCAA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8312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illustrati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6587FC-F18B-4FBE-8CD2-663B9BA8C7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4566" y="1644268"/>
            <a:ext cx="4074055" cy="40627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89233D-8149-4491-95B2-DE11051C8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D2C9554E-F561-4DDA-B278-92702108D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36937CD-C8B6-42FA-9EC6-EF300AFFE646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09791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733044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007D2D-A158-459C-BE2E-0A1D348DA7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9C5C721-7970-4C21-B42B-33753616C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4991259"/>
            <a:ext cx="2445068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DD567F-EFA3-4304-9F2D-5128B34EFFF1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367DCD-123C-45F4-87EB-1586FA603E3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3B8FE7B-9EF6-429C-AC7B-79E85DFB481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32FA97E-008F-4B07-B688-A7B22404D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49FA4C-A0C7-484D-9CD0-A2B1528B3A2E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60E582F-46F7-4DF2-ABCB-E07E85419F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7D61A51-31AF-4082-AFF9-2D4AE9DB7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8BB7FA2D-0C66-4D42-8CC8-567BD9581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E10093C-62DA-496A-9DBF-6F8D26F3BF2E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79167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fact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6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9CAE46-C6D8-48BD-A372-1CDE93E9CC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5579" y="1644390"/>
            <a:ext cx="244347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908BB7-3AA9-46B8-9F51-F98F86B5DB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1644390"/>
            <a:ext cx="2445068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E9B38D5-AD3D-4AE8-88F2-0F9D25BB3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AC23FC6-140A-4E04-B1F9-995F52FC8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79F0066-3164-42E7-92E6-6ECB81B57310}" type="datetime1">
              <a:rPr lang="en-GB" smtClean="0"/>
              <a:t>12/12/2023</a:t>
            </a:fld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2F1A21-DB0B-44A1-8EBE-E26897290FD2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A6B9EE2-783B-41AA-AC77-4DB0F5ED032D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01B83249-39D6-4252-BB3B-A6D96E90F9B0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C1B093AE-E011-42FE-AB95-66C9BFBDFA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5F1A727-495B-4982-B3C7-671F9B44F5C2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BE0B471-FCB7-47D8-9FB4-678E9DA02E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47541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4D76E6-1904-4038-80C4-8BC46CEBB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618" y="1644390"/>
            <a:ext cx="2443480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CAB1BFF-44E8-48FF-AF80-4144B6650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4991259"/>
            <a:ext cx="2443479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BB98BEF1-8B24-44DD-B00E-B069E4D5C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9" name="Date_DateCustomA">
            <a:extLst>
              <a:ext uri="{FF2B5EF4-FFF2-40B4-BE49-F238E27FC236}">
                <a16:creationId xmlns:a16="http://schemas.microsoft.com/office/drawing/2014/main" id="{5AF2CA37-37E6-4F35-A8D3-13E15E825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E8FCDCF-FAAC-48D8-97CE-71AEDA9EFE29}" type="datetime1">
              <a:rPr lang="en-GB" smtClean="0"/>
              <a:t>12/12/2023</a:t>
            </a:fld>
            <a:endParaRPr lang="en-GB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08E95C-A108-449E-AA24-2989A4642A1B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67BA9E9-E6FD-43CD-9C63-CB59B98DE9F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C4ED11A2-1FA8-4D5C-95DC-296255DA7DE6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5E16663-E9F6-4D4C-9422-559BC29D6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8EF9199-7D6F-4B6A-AF35-F75259366BE9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77BCF0F-D12B-4ADD-B578-30EC974B1E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758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56C8-A731-4240-9800-194A4F70A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2438"/>
            <a:ext cx="4072466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30FD33-AB9C-4A88-9BBB-1E385B91358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C52035C-C8B1-4C44-976C-626BFFA779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536905"/>
            <a:ext cx="5703042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DC368E-8BDB-41BB-B406-A3B0A256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6531AD21-BE76-4592-909B-A3B9638680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7E088B74-D5F8-4D6D-B466-6D0723103653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2201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CDE71F-8FC2-4DE4-9423-EE571434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2443480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2443480" cy="4061090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6592" y="5388899"/>
            <a:ext cx="7332029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56592" y="536905"/>
            <a:ext cx="7332029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7D9B79D-FD5C-45BD-97EA-6B24E7C0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E666E0-9E5A-4A77-8B2D-91C35C2274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2EEB1991-01A7-4A1C-9C66-872C05E5583D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4786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80" y="1644652"/>
            <a:ext cx="570304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85A6CB6-503A-43E4-95E9-49CCA6BE0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BE177DB-3D97-4178-B41E-C5E88E6EF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A29EE775-E260-4614-9C8B-28623B33C6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10C8F63-746D-49AA-89DD-F720C3C3E8E3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49671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2443480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0A7420-B42B-4A1E-801C-58F73E98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94D7C6-6298-49CF-9E54-6442A65BE7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9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C9629C-CF41-41C8-B234-06D2B62B5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244506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2ED723-2034-4873-8F5F-84CD3DF06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70AABF26-1E97-4163-9AEB-8A08056A2C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7D9B8B2-2B26-4659-AFD3-8F852FE9A4D5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3512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536905"/>
            <a:ext cx="10590002" cy="4851993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3110" y="906489"/>
            <a:ext cx="3257974" cy="21575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1059159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40854D9-4A7F-43DD-ADEE-729ECE38A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3B009AD-71AF-4311-AB8D-836DCA3740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2D02C2F-C8D1-4CA6-BC85-74B401D907FB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119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606533A-C20D-5743-8623-71C0F8E8C41B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55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A48E567-47F5-4B08-99D6-069385ECE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950CBF-72E1-4385-99DA-211C9A719C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7029" y="5387834"/>
            <a:ext cx="407405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D561B5-A7F3-463C-BD8C-C2813F3D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5578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618" y="1644652"/>
            <a:ext cx="4072467" cy="3743181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F701B6-51A4-429E-BAE7-303D346C1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AF6FCEB8-934A-4A77-A838-C33FC03CC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317641B-8A6E-4000-8D18-8C26E74C5E0D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39124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8144935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814493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9424118-58CD-42CA-86D2-8D172442E4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5AEC6E4-C3EF-4192-856D-9039F171C4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5D31929-EC68-4BA9-818F-D9E7F4391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4" name="Date_DateCustomA">
            <a:extLst>
              <a:ext uri="{FF2B5EF4-FFF2-40B4-BE49-F238E27FC236}">
                <a16:creationId xmlns:a16="http://schemas.microsoft.com/office/drawing/2014/main" id="{F7836BF7-FD55-405A-874B-61C805C2E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9976E51-1FC3-4474-950D-AA48067650FE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3939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D88E7-3B12-4449-81F1-3C8219EE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D20742-1518-4D1C-84E0-A50DB3F71A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1084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5" y="1644650"/>
            <a:ext cx="3257973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AD0405A-0FD7-4F0F-AF7F-B2047DF5C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8E1753-D849-4306-90F0-AE9E3B1E43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4824DA6C-1660-454E-AE9F-DA89A04C5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9B1F6A8-6B7A-461C-8C18-9117AB04685F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302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A0290B9-8984-4B63-9584-E3AE12BC8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4886961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7ABCE10-41F5-4BFF-B780-36E38A40F9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070" y="5387835"/>
            <a:ext cx="2443482" cy="317908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139212-6CFC-41D2-8FC4-04AFFFB5F67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488696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00071" y="1644650"/>
            <a:ext cx="2443480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4BC50-6BE9-4C0E-B354-8E1950E1D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A27BE1DC-8318-4E12-A678-697DBD2158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70B47BD-1B93-49E8-8F1A-50F28146FAEE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9670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AF93-6D36-4195-82B9-DF0720EC5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7" y="5387835"/>
            <a:ext cx="5701454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E2CB951-B63B-4713-9C55-151E8F707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5387835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BF96D0-72C6-404F-8711-EC888AA24B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029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0"/>
            <a:ext cx="1628988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6ABE9CB-A3E8-48D2-82D8-BB162FBC2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F8AC17EF-756D-46C0-9E6D-5F5BC1462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8217C0B-9033-4A97-8B9B-43B4113B467B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20916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23A1CA0-6B95-4682-8F2B-A2CB29E9A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835"/>
            <a:ext cx="5703041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F8FEFC5-5B98-4110-A017-739F63CE8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5" y="5387835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ED6E484-ADE4-491D-A306-116A904F42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3144372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D494126-0696-4DB9-B563-2B5C972242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6" y="1644650"/>
            <a:ext cx="1628987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6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567020D-E32F-49AD-ADAE-9E64ADBB8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32279A45-1217-4472-8344-3C0A19130A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93200B9-2419-488B-B3B4-69557D1FB50C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3156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7">
            <a:extLst>
              <a:ext uri="{FF2B5EF4-FFF2-40B4-BE49-F238E27FC236}">
                <a16:creationId xmlns:a16="http://schemas.microsoft.com/office/drawing/2014/main" id="{6DA88F43-D409-4504-A063-DA4B451A4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F7B2BE-FFF8-4897-A35A-DDFEEB4911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5672"/>
            <a:ext cx="407405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4074056" cy="1483525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35B3C8D-4ACE-428F-8AD3-7A13F1213F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6" y="5387835"/>
            <a:ext cx="1628987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7A95160-7865-47B1-BBD0-32DA9C96FE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5387835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4" y="3905375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51A90D8-504E-4DC5-901B-5180BA0DE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1" name="Date_DateCustomA">
            <a:extLst>
              <a:ext uri="{FF2B5EF4-FFF2-40B4-BE49-F238E27FC236}">
                <a16:creationId xmlns:a16="http://schemas.microsoft.com/office/drawing/2014/main" id="{C64ACC7F-7EC9-4D88-B2D9-4BD783C75A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36191CC-81E4-40E2-A3EA-FD9630412644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269398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8899"/>
            <a:ext cx="5703042" cy="316843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2DF0A72-5AF0-4ACE-B2DB-4155F465E0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4193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F958486-0A01-4664-898B-849018028B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4" y="5387953"/>
            <a:ext cx="1628988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2AE0D8A-202F-43F6-AB72-839F68F575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314419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53D49DA-A17B-44D7-8EBB-64C685A23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8044" y="538795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4" y="3905374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4" y="1644652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109E8909-9BF2-426F-A556-859081C99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9EC51AE-5F71-4517-A9E0-7E30DE0DE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3" name="Date_DateCustomA">
            <a:extLst>
              <a:ext uri="{FF2B5EF4-FFF2-40B4-BE49-F238E27FC236}">
                <a16:creationId xmlns:a16="http://schemas.microsoft.com/office/drawing/2014/main" id="{9986C71A-FB30-4BC3-80B0-20BC54170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178DCDE-D1A1-4EB4-8F09-37541DFBB130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8332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953"/>
            <a:ext cx="325956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02B0B2F-7F53-4AFC-9446-DB6C5777E6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849" y="3145672"/>
            <a:ext cx="64867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62756F-E3F0-402D-9E22-0BE6B392C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085" y="5387953"/>
            <a:ext cx="1625812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E7208CB-CE86-4F3D-B12C-D8268891AA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4566" y="5387953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6E02B92-F862-4F76-B8DC-8C3D1FC7F9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58046" y="5387953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4" y="1644651"/>
            <a:ext cx="651753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D840AF9-BBF8-4202-BC96-375E5BEB71A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871085" y="3905096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299AE5C6-8512-40FE-B386-E39B56597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B9DA6D0-8869-4337-BEAF-0ADAFE06F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4" name="Date_DateCustomA">
            <a:extLst>
              <a:ext uri="{FF2B5EF4-FFF2-40B4-BE49-F238E27FC236}">
                <a16:creationId xmlns:a16="http://schemas.microsoft.com/office/drawing/2014/main" id="{A387D7D7-69FC-41FF-BDFD-687A499B6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944EB0A-8F31-4F12-A58B-82FA23A642B9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06527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034" y="452439"/>
            <a:ext cx="10556574" cy="105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C804A56-02C2-4000-8DE1-4C682601C7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F8065A6C-B087-4C37-B9BF-238078D12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44527C-AD14-4EB9-ADCA-31C61EBA6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264006B7-F2E6-4F4A-8D05-3F44F8F31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703032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084D571D-C947-1B4F-AB1F-BDDE39ED8F7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6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3E8C21-56F3-43EB-BF88-4EEB72C3F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35D10A95-9140-4D91-8BAE-655D1782D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Date_DateCustomA" hidden="1">
            <a:extLst>
              <a:ext uri="{FF2B5EF4-FFF2-40B4-BE49-F238E27FC236}">
                <a16:creationId xmlns:a16="http://schemas.microsoft.com/office/drawing/2014/main" id="{3FA8083C-E59E-4629-A5C9-D403872552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6712553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C267E1F-9146-4D51-A3EA-9E268FC35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1945915"/>
            <a:ext cx="7330441" cy="2768684"/>
          </a:xfrm>
        </p:spPr>
        <p:txBody>
          <a:bodyPr/>
          <a:lstStyle>
            <a:lvl1pPr>
              <a:defRPr sz="3199" b="0" cap="none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Quota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E1ADCAE-53E0-4B32-A2CA-095078D0C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072" y="5018936"/>
            <a:ext cx="7332990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8FF56-E9E6-4CE1-A183-9B907183A27A}"/>
              </a:ext>
            </a:extLst>
          </p:cNvPr>
          <p:cNvSpPr txBox="1"/>
          <p:nvPr userDrawn="1"/>
        </p:nvSpPr>
        <p:spPr bwMode="auto">
          <a:xfrm>
            <a:off x="805541" y="2249830"/>
            <a:ext cx="1671855" cy="282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2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97" marR="0" indent="-25395" algn="l" defTabSz="457109" rtl="0" eaLnBrk="0" fontAlgn="base" latinLnBrk="0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ClrTx/>
              <a:buSzTx/>
              <a:tabLst/>
            </a:pPr>
            <a:r>
              <a:rPr kumimoji="0" lang="en-GB" sz="19896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“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A9AB153B-AFF1-4043-8D3F-263FEAF2377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5D8EFE0-F00D-46BC-9E29-8C829868E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tx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BA90A93D-37F9-4C65-91AC-8C8D05B4C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A8D4E2C-4AD4-4902-9AA6-258C412AEED1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8208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9997-006D-492C-9877-F7617EDD2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2E10D1A-D613-41CE-B02A-846290684BA0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6538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ED85EA1-D7DA-4042-AE58-E34BD5AC5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235F65ED-2265-47AB-ACC6-E4B66C3907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7FB7D42-25F0-4925-AB91-37097B4A81F1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72936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798617" y="452440"/>
            <a:ext cx="10590003" cy="1196444"/>
          </a:xfrm>
        </p:spPr>
        <p:txBody>
          <a:bodyPr tIns="0"/>
          <a:lstStyle>
            <a:lvl1pPr>
              <a:defRPr sz="3199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12/12/2023</a:t>
            </a:fld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CCD3D23-05BF-4B57-8284-15FF6D1217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5846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9"/>
            <a:ext cx="4886960" cy="44319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AE5DB4-A422-4286-935C-1ABCA4CCEF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4970200"/>
            <a:ext cx="4886960" cy="365370"/>
          </a:xfrm>
        </p:spPr>
        <p:txBody>
          <a:bodyPr lIns="0" anchor="b" anchorCtr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Department 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862EE0-F879-436B-A5EA-70A7F83ABF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8" y="5332765"/>
            <a:ext cx="4886960" cy="424314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395921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727055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x@ramboll.com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9855619-46E8-4B12-8D5A-DE3552021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9CA6E42C-D397-4857-89FC-8B948A95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5E849237-3873-4459-A547-67B1C8011873}" type="datetime1">
              <a:rPr lang="en-GB" smtClean="0"/>
              <a:t>12/12/2023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9BD8C4-6612-438B-81F5-53DD9DF90E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7" y="6158174"/>
            <a:ext cx="2826825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9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0DA34D-CD01-4059-B449-4DCD238F6A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240"/>
            <a:ext cx="12192000" cy="6855521"/>
          </a:xfrm>
          <a:prstGeom prst="rect">
            <a:avLst/>
          </a:prstGeom>
        </p:spPr>
      </p:pic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4419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42" Type="http://schemas.openxmlformats.org/officeDocument/2006/relationships/image" Target="../media/image10.png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41" Type="http://schemas.openxmlformats.org/officeDocument/2006/relationships/image" Target="../media/image9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theme" Target="../theme/theme6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4" Type="http://schemas.openxmlformats.org/officeDocument/2006/relationships/image" Target="../media/image12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image" Target="../media/image11.emf"/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1692122"/>
            <a:ext cx="10972800" cy="593878"/>
          </a:xfrm>
          <a:prstGeom prst="rect">
            <a:avLst/>
          </a:prstGeom>
        </p:spPr>
        <p:txBody>
          <a:bodyPr vert="horz" lIns="91440" tIns="0" rIns="91440" bIns="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2519516"/>
            <a:ext cx="10972800" cy="269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7621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/>
          <a:ea typeface="+mj-ea"/>
          <a:cs typeface="Calibr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1pPr>
      <a:lvl2pPr marL="630238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000" kern="1200">
          <a:solidFill>
            <a:schemeClr val="tx2"/>
          </a:solidFill>
          <a:latin typeface="Calibri"/>
          <a:ea typeface="+mn-ea"/>
          <a:cs typeface="Calibri"/>
        </a:defRPr>
      </a:lvl2pPr>
      <a:lvl3pPr marL="982663" indent="-179388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3pPr>
      <a:lvl4pPr marL="152400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tabLst/>
        <a:defRPr sz="2000" kern="1200">
          <a:solidFill>
            <a:schemeClr val="tx2"/>
          </a:solidFill>
          <a:latin typeface="Calibri"/>
          <a:ea typeface="+mn-ea"/>
          <a:cs typeface="Calibri"/>
        </a:defRPr>
      </a:lvl4pPr>
      <a:lvl5pPr marL="197485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000" kern="1200">
          <a:solidFill>
            <a:schemeClr val="tx2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1692122"/>
            <a:ext cx="10972800" cy="593878"/>
          </a:xfrm>
          <a:prstGeom prst="rect">
            <a:avLst/>
          </a:prstGeom>
        </p:spPr>
        <p:txBody>
          <a:bodyPr vert="horz" lIns="91440" tIns="0" rIns="91440" bIns="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2519516"/>
            <a:ext cx="10972800" cy="269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8571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</p:sldLayoutIdLs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/>
          <a:ea typeface="+mj-ea"/>
          <a:cs typeface="Calibr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1pPr>
      <a:lvl2pPr marL="630238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000" kern="1200">
          <a:solidFill>
            <a:schemeClr val="tx2"/>
          </a:solidFill>
          <a:latin typeface="Calibri"/>
          <a:ea typeface="+mn-ea"/>
          <a:cs typeface="Calibri"/>
        </a:defRPr>
      </a:lvl2pPr>
      <a:lvl3pPr marL="982663" indent="-179388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3pPr>
      <a:lvl4pPr marL="152400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tabLst/>
        <a:defRPr sz="2000" kern="1200">
          <a:solidFill>
            <a:schemeClr val="tx2"/>
          </a:solidFill>
          <a:latin typeface="Calibri"/>
          <a:ea typeface="+mn-ea"/>
          <a:cs typeface="Calibri"/>
        </a:defRPr>
      </a:lvl4pPr>
      <a:lvl5pPr marL="197485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000" kern="1200">
          <a:solidFill>
            <a:schemeClr val="tx2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40296189"/>
              </p:ext>
            </p:extLst>
          </p:nvPr>
        </p:nvGraphicFramePr>
        <p:xfrm>
          <a:off x="2121" y="159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1" y="1592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82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27052" y="475200"/>
            <a:ext cx="11136000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0826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2" y="1843200"/>
            <a:ext cx="11136000" cy="39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4000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</p:sldLayoutIdLst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500" b="1" i="0">
          <a:solidFill>
            <a:schemeClr val="accent3"/>
          </a:solidFill>
          <a:latin typeface="+mn-lt"/>
          <a:ea typeface="+mj-ea"/>
          <a:cs typeface="Times New Roman" pitchFamily="18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5pPr>
      <a:lvl6pPr marL="51115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6pPr>
      <a:lvl7pPr marL="1022302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7pPr>
      <a:lvl8pPr marL="1533451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8pPr>
      <a:lvl9pPr marL="204461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9pPr>
    </p:titleStyle>
    <p:bodyStyle>
      <a:lvl1pPr marL="266268" indent="-266268" algn="l" rtl="0" eaLnBrk="1" fontAlgn="base" hangingPunct="1">
        <a:spcBef>
          <a:spcPts val="336"/>
        </a:spcBef>
        <a:spcAft>
          <a:spcPts val="336"/>
        </a:spcAft>
        <a:buFont typeface="Arial" panose="020B0604020202020204" pitchFamily="34" charset="0"/>
        <a:buChar char="•"/>
        <a:defRPr sz="2000">
          <a:solidFill>
            <a:srgbClr val="080808"/>
          </a:solidFill>
          <a:latin typeface="+mn-lt"/>
          <a:ea typeface="+mn-ea"/>
          <a:cs typeface="Arial" pitchFamily="34" charset="0"/>
        </a:defRPr>
      </a:lvl1pPr>
      <a:lvl2pPr marL="542047" indent="-275779" algn="l" rtl="0" eaLnBrk="1" fontAlgn="base" hangingPunct="1">
        <a:spcBef>
          <a:spcPts val="448"/>
        </a:spcBef>
        <a:spcAft>
          <a:spcPts val="448"/>
        </a:spcAft>
        <a:buChar char="–"/>
        <a:defRPr sz="2000">
          <a:solidFill>
            <a:srgbClr val="080808"/>
          </a:solidFill>
          <a:latin typeface="+mn-lt"/>
          <a:cs typeface="Arial" pitchFamily="34" charset="0"/>
        </a:defRPr>
      </a:lvl2pPr>
      <a:lvl3pPr marL="903391" indent="-296404" algn="l" rtl="0" eaLnBrk="1" fontAlgn="base" hangingPunct="1">
        <a:spcBef>
          <a:spcPts val="448"/>
        </a:spcBef>
        <a:spcAft>
          <a:spcPts val="448"/>
        </a:spcAft>
        <a:buChar char="•"/>
        <a:defRPr sz="2600">
          <a:solidFill>
            <a:srgbClr val="080808"/>
          </a:solidFill>
          <a:latin typeface="+mn-lt"/>
          <a:cs typeface="Arial" pitchFamily="34" charset="0"/>
        </a:defRPr>
      </a:lvl3pPr>
      <a:lvl4pPr marL="1308052" indent="-308822" algn="l" rtl="0" eaLnBrk="1" fontAlgn="base" hangingPunct="1">
        <a:spcBef>
          <a:spcPts val="448"/>
        </a:spcBef>
        <a:spcAft>
          <a:spcPts val="448"/>
        </a:spcAft>
        <a:buChar char="–"/>
        <a:defRPr sz="2600">
          <a:solidFill>
            <a:srgbClr val="080808"/>
          </a:solidFill>
          <a:latin typeface="+mn-lt"/>
          <a:cs typeface="Arial" pitchFamily="34" charset="0"/>
        </a:defRPr>
      </a:lvl4pPr>
      <a:lvl5pPr marL="1700285" indent="-298170" algn="l" rtl="0" eaLnBrk="1" fontAlgn="base" hangingPunct="1">
        <a:spcBef>
          <a:spcPts val="448"/>
        </a:spcBef>
        <a:spcAft>
          <a:spcPts val="448"/>
        </a:spcAft>
        <a:buChar char="»"/>
        <a:defRPr sz="2600">
          <a:solidFill>
            <a:srgbClr val="080808"/>
          </a:solidFill>
          <a:latin typeface="+mn-lt"/>
          <a:cs typeface="Arial" pitchFamily="34" charset="0"/>
        </a:defRPr>
      </a:lvl5pPr>
      <a:lvl6pPr marL="2811330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6pPr>
      <a:lvl7pPr marL="3322481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7pPr>
      <a:lvl8pPr marL="3833638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8pPr>
      <a:lvl9pPr marL="4344784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9pPr>
    </p:bodyStyle>
    <p:otherStyle>
      <a:defPPr>
        <a:defRPr lang="en-US"/>
      </a:defPPr>
      <a:lvl1pPr marL="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15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2302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3451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461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5756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66906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78055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89209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946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84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84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41" y="617384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de 7" descr="ks_hovedlogo_rg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84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55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618" y="312767"/>
            <a:ext cx="10590003" cy="748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resentation title</a:t>
            </a:r>
            <a:br>
              <a:rPr lang="en-GB" noProof="0" dirty="0"/>
            </a:br>
            <a:r>
              <a:rPr lang="en-GB" noProof="0" dirty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617" y="1647826"/>
            <a:ext cx="10590003" cy="4059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 No bullet text 18</a:t>
            </a:r>
          </a:p>
          <a:p>
            <a:pPr lvl="4"/>
            <a:r>
              <a:rPr lang="en-GB" noProof="0" dirty="0"/>
              <a:t>5 </a:t>
            </a:r>
            <a:r>
              <a:rPr lang="en-GB" noProof="0" dirty="0" err="1"/>
              <a:t>Megaheader</a:t>
            </a:r>
            <a:r>
              <a:rPr lang="en-GB" noProof="0" dirty="0"/>
              <a:t> caps 48</a:t>
            </a:r>
          </a:p>
          <a:p>
            <a:pPr lvl="5"/>
            <a:r>
              <a:rPr lang="en-GB" noProof="0" dirty="0"/>
              <a:t>6 Header caps 18</a:t>
            </a:r>
          </a:p>
          <a:p>
            <a:pPr lvl="6"/>
            <a:r>
              <a:rPr lang="en-GB" noProof="0" dirty="0"/>
              <a:t>7 Text 18</a:t>
            </a:r>
          </a:p>
          <a:p>
            <a:pPr lvl="7"/>
            <a:r>
              <a:rPr lang="en-GB" noProof="0" dirty="0"/>
              <a:t>8 Number 16</a:t>
            </a:r>
          </a:p>
          <a:p>
            <a:pPr lvl="8"/>
            <a:r>
              <a:rPr lang="en-GB" noProof="0" dirty="0"/>
              <a:t>9 Letter 16</a:t>
            </a:r>
          </a:p>
          <a:p>
            <a:pPr lvl="8"/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E8A079D-0F01-4087-8466-404AA9697848}" type="datetime1">
              <a:rPr lang="da-DK" smtClean="0"/>
              <a:t>12-12-2023</a:t>
            </a:fld>
            <a:endParaRPr lang="da-DK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350" y="522085"/>
            <a:ext cx="1797025" cy="2906915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2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38C835D-7A3F-4157-850A-1556A9D8479F}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15BF35-693E-4749-821E-5148CED147C8}"/>
              </a:ext>
            </a:extLst>
          </p:cNvPr>
          <p:cNvSpPr/>
          <p:nvPr userDrawn="1"/>
        </p:nvSpPr>
        <p:spPr>
          <a:xfrm>
            <a:off x="2052092" y="6141510"/>
            <a:ext cx="1573352" cy="2722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ADE70B8-E712-464A-820F-239445307AD0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2212030" y="6140507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9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  <p:sldLayoutId id="2147483927" r:id="rId31"/>
    <p:sldLayoutId id="2147483928" r:id="rId32"/>
    <p:sldLayoutId id="2147483929" r:id="rId33"/>
    <p:sldLayoutId id="2147483930" r:id="rId34"/>
    <p:sldLayoutId id="2147483931" r:id="rId35"/>
    <p:sldLayoutId id="2147483932" r:id="rId36"/>
    <p:sldLayoutId id="2147483933" r:id="rId37"/>
    <p:sldLayoutId id="2147483934" r:id="rId38"/>
    <p:sldLayoutId id="2147483935" r:id="rId39"/>
  </p:sldLayoutIdLst>
  <p:hf sldNum="0" hdr="0" ftr="0" dt="0"/>
  <p:txStyles>
    <p:titleStyle>
      <a:lvl1pPr algn="l" defTabSz="457098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09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194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292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38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195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787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004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098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799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098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098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659">
          <p15:clr>
            <a:srgbClr val="F26B43"/>
          </p15:clr>
        </p15:guide>
        <p15:guide id="2" pos="7173">
          <p15:clr>
            <a:srgbClr val="F26B43"/>
          </p15:clr>
        </p15:guide>
        <p15:guide id="3" orient="horz" pos="1036">
          <p15:clr>
            <a:srgbClr val="F26B43"/>
          </p15:clr>
        </p15:guide>
        <p15:guide id="4" orient="horz" pos="3595">
          <p15:clr>
            <a:srgbClr val="F26B43"/>
          </p15:clr>
        </p15:guide>
        <p15:guide id="5" pos="6146">
          <p15:clr>
            <a:srgbClr val="F26B43"/>
          </p15:clr>
        </p15:guide>
        <p15:guide id="6" pos="5633">
          <p15:clr>
            <a:srgbClr val="F26B43"/>
          </p15:clr>
        </p15:guide>
        <p15:guide id="7" pos="5120">
          <p15:clr>
            <a:srgbClr val="F26B43"/>
          </p15:clr>
        </p15:guide>
        <p15:guide id="8" pos="4607">
          <p15:clr>
            <a:srgbClr val="F26B43"/>
          </p15:clr>
        </p15:guide>
        <p15:guide id="9" pos="4094">
          <p15:clr>
            <a:srgbClr val="F26B43"/>
          </p15:clr>
        </p15:guide>
        <p15:guide id="10" pos="3581">
          <p15:clr>
            <a:srgbClr val="F26B43"/>
          </p15:clr>
        </p15:guide>
        <p15:guide id="11" pos="3068">
          <p15:clr>
            <a:srgbClr val="F26B43"/>
          </p15:clr>
        </p15:guide>
        <p15:guide id="12" pos="2555">
          <p15:clr>
            <a:srgbClr val="F26B43"/>
          </p15:clr>
        </p15:guide>
        <p15:guide id="13" pos="2042">
          <p15:clr>
            <a:srgbClr val="F26B43"/>
          </p15:clr>
        </p15:guide>
        <p15:guide id="14" pos="1529">
          <p15:clr>
            <a:srgbClr val="F26B43"/>
          </p15:clr>
        </p15:guide>
        <p15:guide id="15" pos="1016">
          <p15:clr>
            <a:srgbClr val="F26B43"/>
          </p15:clr>
        </p15:guide>
        <p15:guide id="16" pos="5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41774" y="2620264"/>
            <a:ext cx="8259538" cy="1914146"/>
          </a:xfrm>
        </p:spPr>
        <p:txBody>
          <a:bodyPr/>
          <a:lstStyle/>
          <a:p>
            <a:r>
              <a:rPr lang="nb-NO" sz="3600" dirty="0"/>
              <a:t>Interessentanalyse og forankringsplan</a:t>
            </a:r>
          </a:p>
        </p:txBody>
      </p:sp>
    </p:spTree>
    <p:extLst>
      <p:ext uri="{BB962C8B-B14F-4D97-AF65-F5344CB8AC3E}">
        <p14:creationId xmlns:p14="http://schemas.microsoft.com/office/powerpoint/2010/main" val="23379540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154028"/>
            <a:ext cx="8989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CBD38024-8F0D-B95E-3436-8832D8E7C73E}"/>
              </a:ext>
            </a:extLst>
          </p:cNvPr>
          <p:cNvSpPr txBox="1"/>
          <p:nvPr/>
        </p:nvSpPr>
        <p:spPr>
          <a:xfrm>
            <a:off x="657043" y="233265"/>
            <a:ext cx="106050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 dirty="0"/>
              <a:t>Hva er interessentanalyse?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8447200A-BF30-CAAC-4816-24A521FE1F27}"/>
              </a:ext>
            </a:extLst>
          </p:cNvPr>
          <p:cNvSpPr txBox="1"/>
          <p:nvPr/>
        </p:nvSpPr>
        <p:spPr>
          <a:xfrm>
            <a:off x="657043" y="1395167"/>
            <a:ext cx="981613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Grundig forståelse av interessentbildet er viktig for å lykkes med fortøyning og forank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Interessenter må håndteres ulikt ut fra deres interesser, holdninger og innflyt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Interessenter er personer og grupper som blir berørt av den ønskede endringen eller prosjektet. De kan påvirke positivt eller negativ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Interessentene kan ha ulike behov, forventninger og øns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I interessentanalysen identifiserer dere hvem det gjelder, og definerer strategi for forankring</a:t>
            </a:r>
          </a:p>
        </p:txBody>
      </p:sp>
    </p:spTree>
    <p:extLst>
      <p:ext uri="{BB962C8B-B14F-4D97-AF65-F5344CB8AC3E}">
        <p14:creationId xmlns:p14="http://schemas.microsoft.com/office/powerpoint/2010/main" val="1353318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154028"/>
            <a:ext cx="8989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C6ED0125-3E1A-7A89-BBFA-1AE9E0A5C576}"/>
              </a:ext>
            </a:extLst>
          </p:cNvPr>
          <p:cNvSpPr txBox="1"/>
          <p:nvPr/>
        </p:nvSpPr>
        <p:spPr>
          <a:xfrm>
            <a:off x="19451" y="41113"/>
            <a:ext cx="74810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Interessentanalyse</a:t>
            </a:r>
          </a:p>
        </p:txBody>
      </p:sp>
      <p:graphicFrame>
        <p:nvGraphicFramePr>
          <p:cNvPr id="13" name="Tabell 13">
            <a:extLst>
              <a:ext uri="{FF2B5EF4-FFF2-40B4-BE49-F238E27FC236}">
                <a16:creationId xmlns:a16="http://schemas.microsoft.com/office/drawing/2014/main" id="{2F41E21F-8FF9-2CDE-82EC-6A2BA3BB9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0130486"/>
              </p:ext>
            </p:extLst>
          </p:nvPr>
        </p:nvGraphicFramePr>
        <p:xfrm>
          <a:off x="0" y="788458"/>
          <a:ext cx="12191999" cy="579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8482">
                  <a:extLst>
                    <a:ext uri="{9D8B030D-6E8A-4147-A177-3AD203B41FA5}">
                      <a16:colId xmlns:a16="http://schemas.microsoft.com/office/drawing/2014/main" val="2682528314"/>
                    </a:ext>
                  </a:extLst>
                </a:gridCol>
                <a:gridCol w="2432909">
                  <a:extLst>
                    <a:ext uri="{9D8B030D-6E8A-4147-A177-3AD203B41FA5}">
                      <a16:colId xmlns:a16="http://schemas.microsoft.com/office/drawing/2014/main" val="648285379"/>
                    </a:ext>
                  </a:extLst>
                </a:gridCol>
                <a:gridCol w="1177557">
                  <a:extLst>
                    <a:ext uri="{9D8B030D-6E8A-4147-A177-3AD203B41FA5}">
                      <a16:colId xmlns:a16="http://schemas.microsoft.com/office/drawing/2014/main" val="852035362"/>
                    </a:ext>
                  </a:extLst>
                </a:gridCol>
                <a:gridCol w="558388">
                  <a:extLst>
                    <a:ext uri="{9D8B030D-6E8A-4147-A177-3AD203B41FA5}">
                      <a16:colId xmlns:a16="http://schemas.microsoft.com/office/drawing/2014/main" val="778702491"/>
                    </a:ext>
                  </a:extLst>
                </a:gridCol>
                <a:gridCol w="1108953">
                  <a:extLst>
                    <a:ext uri="{9D8B030D-6E8A-4147-A177-3AD203B41FA5}">
                      <a16:colId xmlns:a16="http://schemas.microsoft.com/office/drawing/2014/main" val="4258256385"/>
                    </a:ext>
                  </a:extLst>
                </a:gridCol>
                <a:gridCol w="1400783">
                  <a:extLst>
                    <a:ext uri="{9D8B030D-6E8A-4147-A177-3AD203B41FA5}">
                      <a16:colId xmlns:a16="http://schemas.microsoft.com/office/drawing/2014/main" val="2104187954"/>
                    </a:ext>
                  </a:extLst>
                </a:gridCol>
                <a:gridCol w="3514927">
                  <a:extLst>
                    <a:ext uri="{9D8B030D-6E8A-4147-A177-3AD203B41FA5}">
                      <a16:colId xmlns:a16="http://schemas.microsoft.com/office/drawing/2014/main" val="1557607656"/>
                    </a:ext>
                  </a:extLst>
                </a:gridCol>
              </a:tblGrid>
              <a:tr h="539732">
                <a:tc>
                  <a:txBody>
                    <a:bodyPr/>
                    <a:lstStyle/>
                    <a:p>
                      <a:r>
                        <a:rPr lang="nb-NO" dirty="0"/>
                        <a:t>Interess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Hvordan berøres av/påvirker endring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Innflytel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Hold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Ev. an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Strategi for involvering og dialo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61789"/>
                  </a:ext>
                </a:extLst>
              </a:tr>
              <a:tr h="1876213">
                <a:tc>
                  <a:txBody>
                    <a:bodyPr/>
                    <a:lstStyle/>
                    <a:p>
                      <a:r>
                        <a:rPr lang="nb-NO" sz="1400" dirty="0"/>
                        <a:t>(Definer berørt part, som for eksempel rektor, sykepleier, barnevernspedago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(Definer hvordan interessenten berøres av endringen, som f.eks. «Vi får endrede arbeidsoppgaver, vi må samarbeide med andre på nye måter», og/eller hvordan endringen påvirker, som f.eks. «for at prosjektet skal lykkes må denne gruppen dokumentere i journal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Hø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øyt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(bli enige om hvor mye interessenten skal involveres i prosjektet, og beskriv kort hvordan dette skal gjøres. F.eks. «Involveres aktivt i prosjektet, inviteres til alle arbeidsmøter </a:t>
                      </a:r>
                      <a:r>
                        <a:rPr lang="nb-NO" sz="1400" dirty="0" err="1"/>
                        <a:t>osv</a:t>
                      </a:r>
                      <a:r>
                        <a:rPr lang="nb-NO" sz="1400" dirty="0"/>
                        <a:t>»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2392420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Positiv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999547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L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egati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9314373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01615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8318797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7171789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8891624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595557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66762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6444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154028"/>
            <a:ext cx="8989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CBD38024-8F0D-B95E-3436-8832D8E7C73E}"/>
              </a:ext>
            </a:extLst>
          </p:cNvPr>
          <p:cNvSpPr txBox="1"/>
          <p:nvPr/>
        </p:nvSpPr>
        <p:spPr>
          <a:xfrm>
            <a:off x="657043" y="233265"/>
            <a:ext cx="106050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 dirty="0"/>
              <a:t>Hva er en forankringsplan?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8447200A-BF30-CAAC-4816-24A521FE1F27}"/>
              </a:ext>
            </a:extLst>
          </p:cNvPr>
          <p:cNvSpPr txBox="1"/>
          <p:nvPr/>
        </p:nvSpPr>
        <p:spPr>
          <a:xfrm>
            <a:off x="657043" y="1443805"/>
            <a:ext cx="981613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Forankringsplanen skal vise hva som må forankres med hvem, når, og hvordan det skal skje</a:t>
            </a:r>
            <a:br>
              <a:rPr lang="nb-NO" dirty="0"/>
            </a:b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En plan for forankring hjelper deg med å gjennomføre arbeidet på en strukturert måte, og holde orden på dialogen med de ulike interessent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a utgangspunkt i interessentanalysen for å avklare hva som er viktig å forankre med hver interessent, og hvordan dette skal gjøres. Tenk godt gjennom interessentens behov og holdninger når du fyller 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Velg ulike kanaler for informasjon. Det er sjeldent nok å sende ut epost for å skape eierskap til planlagte end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et kan være mange ulike aktører involvert i innovasjonsprosesser utover ansatte og ledere i tjenesten. For eksempel politikere, administrative ledere, tillitsvalgte, leverandører, frivillige organisasjoner, pårørend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81100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CBD38024-8F0D-B95E-3436-8832D8E7C73E}"/>
              </a:ext>
            </a:extLst>
          </p:cNvPr>
          <p:cNvSpPr txBox="1"/>
          <p:nvPr/>
        </p:nvSpPr>
        <p:spPr>
          <a:xfrm>
            <a:off x="170926" y="233265"/>
            <a:ext cx="106050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Forankringsplan</a:t>
            </a:r>
          </a:p>
        </p:txBody>
      </p:sp>
      <p:graphicFrame>
        <p:nvGraphicFramePr>
          <p:cNvPr id="9" name="Tabell 9">
            <a:extLst>
              <a:ext uri="{FF2B5EF4-FFF2-40B4-BE49-F238E27FC236}">
                <a16:creationId xmlns:a16="http://schemas.microsoft.com/office/drawing/2014/main" id="{52DB560B-09C5-DDC1-7FF6-02AE9F6BDC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0526797"/>
              </p:ext>
            </p:extLst>
          </p:nvPr>
        </p:nvGraphicFramePr>
        <p:xfrm>
          <a:off x="48635" y="943582"/>
          <a:ext cx="11997445" cy="52140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9489">
                  <a:extLst>
                    <a:ext uri="{9D8B030D-6E8A-4147-A177-3AD203B41FA5}">
                      <a16:colId xmlns:a16="http://schemas.microsoft.com/office/drawing/2014/main" val="4111715601"/>
                    </a:ext>
                  </a:extLst>
                </a:gridCol>
                <a:gridCol w="2399489">
                  <a:extLst>
                    <a:ext uri="{9D8B030D-6E8A-4147-A177-3AD203B41FA5}">
                      <a16:colId xmlns:a16="http://schemas.microsoft.com/office/drawing/2014/main" val="1090353152"/>
                    </a:ext>
                  </a:extLst>
                </a:gridCol>
                <a:gridCol w="2399489">
                  <a:extLst>
                    <a:ext uri="{9D8B030D-6E8A-4147-A177-3AD203B41FA5}">
                      <a16:colId xmlns:a16="http://schemas.microsoft.com/office/drawing/2014/main" val="3042271885"/>
                    </a:ext>
                  </a:extLst>
                </a:gridCol>
                <a:gridCol w="2399489">
                  <a:extLst>
                    <a:ext uri="{9D8B030D-6E8A-4147-A177-3AD203B41FA5}">
                      <a16:colId xmlns:a16="http://schemas.microsoft.com/office/drawing/2014/main" val="3793099137"/>
                    </a:ext>
                  </a:extLst>
                </a:gridCol>
                <a:gridCol w="2399489">
                  <a:extLst>
                    <a:ext uri="{9D8B030D-6E8A-4147-A177-3AD203B41FA5}">
                      <a16:colId xmlns:a16="http://schemas.microsoft.com/office/drawing/2014/main" val="78132992"/>
                    </a:ext>
                  </a:extLst>
                </a:gridCol>
              </a:tblGrid>
              <a:tr h="430079">
                <a:tc>
                  <a:txBody>
                    <a:bodyPr/>
                    <a:lstStyle/>
                    <a:p>
                      <a:r>
                        <a:rPr lang="nb-NO" dirty="0"/>
                        <a:t>Interess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Aktivit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Nå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Ansvarl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Statu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455751"/>
                  </a:ext>
                </a:extLst>
              </a:tr>
              <a:tr h="1343315">
                <a:tc>
                  <a:txBody>
                    <a:bodyPr/>
                    <a:lstStyle/>
                    <a:p>
                      <a:r>
                        <a:rPr lang="nb-NO" sz="1400" dirty="0"/>
                        <a:t>(oppgi berørt part, som for eksempel barnevernsleder eller plansjef. Eller kommunedirektø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(Bli enige om hva som skal forankres </a:t>
                      </a:r>
                      <a:r>
                        <a:rPr lang="nb-NO" sz="1400"/>
                        <a:t>og hvordan)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Bli enige om når det skal skje, som </a:t>
                      </a:r>
                      <a:r>
                        <a:rPr lang="nb-NO" sz="1400" dirty="0" err="1"/>
                        <a:t>f.eks</a:t>
                      </a:r>
                      <a:r>
                        <a:rPr lang="nb-NO" sz="1400" dirty="0"/>
                        <a:t> 15. januar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Hvem er ansvarlig for aktiviteten? Skriv inn nav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Oppgi status for forankringsarbeidet, som f.eks. «under planlegging», må forberede presentasjon og kalle inn til et møte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657293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471384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066673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896493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7393014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2234881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4392188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8643116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681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333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799b1822-4923-4a0c-a23c-d1a624a909d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KS_slidemaster">
  <a:themeElements>
    <a:clrScheme name="Custom 1">
      <a:dk1>
        <a:sysClr val="windowText" lastClr="000000"/>
      </a:dk1>
      <a:lt1>
        <a:sysClr val="window" lastClr="FFFFFF"/>
      </a:lt1>
      <a:dk2>
        <a:srgbClr val="001A58"/>
      </a:dk2>
      <a:lt2>
        <a:srgbClr val="A2A3A5"/>
      </a:lt2>
      <a:accent1>
        <a:srgbClr val="E09800"/>
      </a:accent1>
      <a:accent2>
        <a:srgbClr val="008CD3"/>
      </a:accent2>
      <a:accent3>
        <a:srgbClr val="BCCFE8"/>
      </a:accent3>
      <a:accent4>
        <a:srgbClr val="A70026"/>
      </a:accent4>
      <a:accent5>
        <a:srgbClr val="8C9B00"/>
      </a:accent5>
      <a:accent6>
        <a:srgbClr val="FF58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NITO 050215">
  <a:themeElements>
    <a:clrScheme name="Custom 1">
      <a:dk1>
        <a:sysClr val="windowText" lastClr="000000"/>
      </a:dk1>
      <a:lt1>
        <a:sysClr val="window" lastClr="FFFFFF"/>
      </a:lt1>
      <a:dk2>
        <a:srgbClr val="001A58"/>
      </a:dk2>
      <a:lt2>
        <a:srgbClr val="A2A3A5"/>
      </a:lt2>
      <a:accent1>
        <a:srgbClr val="E09800"/>
      </a:accent1>
      <a:accent2>
        <a:srgbClr val="008CD3"/>
      </a:accent2>
      <a:accent3>
        <a:srgbClr val="BCCFE8"/>
      </a:accent3>
      <a:accent4>
        <a:srgbClr val="A70026"/>
      </a:accent4>
      <a:accent5>
        <a:srgbClr val="8C9B00"/>
      </a:accent5>
      <a:accent6>
        <a:srgbClr val="FF58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7_MW PPT 2013">
  <a:themeElements>
    <a:clrScheme name="Advantage">
      <a:dk1>
        <a:sysClr val="windowText" lastClr="000000"/>
      </a:dk1>
      <a:lt1>
        <a:sysClr val="window" lastClr="FFFFFF"/>
      </a:lt1>
      <a:dk2>
        <a:srgbClr val="2B142D"/>
      </a:dk2>
      <a:lt2>
        <a:srgbClr val="C3AFCC"/>
      </a:lt2>
      <a:accent1>
        <a:srgbClr val="663366"/>
      </a:accent1>
      <a:accent2>
        <a:srgbClr val="330F42"/>
      </a:accent2>
      <a:accent3>
        <a:srgbClr val="666699"/>
      </a:accent3>
      <a:accent4>
        <a:srgbClr val="999966"/>
      </a:accent4>
      <a:accent5>
        <a:srgbClr val="F7901E"/>
      </a:accent5>
      <a:accent6>
        <a:srgbClr val="A3A101"/>
      </a:accent6>
      <a:hlink>
        <a:srgbClr val="BC5FBC"/>
      </a:hlink>
      <a:folHlink>
        <a:srgbClr val="9775A7"/>
      </a:folHlink>
    </a:clrScheme>
    <a:fontScheme name="Making Waves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49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marL="0" indent="0">
          <a:spcBef>
            <a:spcPct val="20000"/>
          </a:spcBef>
          <a:defRPr sz="1800" dirty="0" err="1" smtClean="0">
            <a:solidFill>
              <a:srgbClr val="000000"/>
            </a:solidFill>
            <a:cs typeface="Arial" pitchFamily="34" charset="0"/>
          </a:defRPr>
        </a:defPPr>
      </a:lstStyle>
    </a:txDef>
  </a:objectDefaults>
  <a:extraClrSchemeLst>
    <a:extraClrScheme>
      <a:clrScheme name="5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2. janua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Innovasjonsbarometeret 2018 – kommunal sekto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Blank.potx" id="{CC34BEB4-56BE-4C35-B3C1-ED2770E08490}" vid="{5E58AF69-3E00-4BE6-9424-5697BE04CE91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50 INI internt</Template>
  <TotalTime>63</TotalTime>
  <Words>426</Words>
  <Application>Microsoft Office PowerPoint</Application>
  <PresentationFormat>Widescreen</PresentationFormat>
  <Paragraphs>55</Paragraphs>
  <Slides>5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6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</vt:i4>
      </vt:variant>
    </vt:vector>
  </HeadingPairs>
  <TitlesOfParts>
    <vt:vector size="17" baseType="lpstr">
      <vt:lpstr>Arial</vt:lpstr>
      <vt:lpstr>Calibri</vt:lpstr>
      <vt:lpstr>Georgia</vt:lpstr>
      <vt:lpstr>Helvetica 65 Medium</vt:lpstr>
      <vt:lpstr>Verdana</vt:lpstr>
      <vt:lpstr>8_KS_slidemaster</vt:lpstr>
      <vt:lpstr>1_NITO 050215</vt:lpstr>
      <vt:lpstr>17_MW PPT 2013</vt:lpstr>
      <vt:lpstr>22. januar</vt:lpstr>
      <vt:lpstr>4_Innovasjonsbarometeret 2018 – kommunal sektor</vt:lpstr>
      <vt:lpstr>Blank</vt:lpstr>
      <vt:lpstr>think-cell Slide</vt:lpstr>
      <vt:lpstr>Interessentanalyse og forankringspla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ankringsverktøy og interessentanalyse</dc:title>
  <dc:creator>Une Tangen</dc:creator>
  <cp:lastModifiedBy>Une Tangen</cp:lastModifiedBy>
  <cp:revision>1</cp:revision>
  <cp:lastPrinted>2019-10-28T10:24:27Z</cp:lastPrinted>
  <dcterms:created xsi:type="dcterms:W3CDTF">2023-12-11T21:08:08Z</dcterms:created>
  <dcterms:modified xsi:type="dcterms:W3CDTF">2023-12-12T14:2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oudStatistics_StoryID">
    <vt:lpwstr>d8fee394-e633-4cd3-9c6f-0785f346b81a</vt:lpwstr>
  </property>
</Properties>
</file>